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7" r:id="rId3"/>
    <p:sldId id="2578" r:id="rId4"/>
    <p:sldId id="2580" r:id="rId5"/>
    <p:sldId id="2579" r:id="rId6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F594"/>
    <a:srgbClr val="FF2F92"/>
    <a:srgbClr val="331994"/>
    <a:srgbClr val="2832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560"/>
    <p:restoredTop sz="94694"/>
  </p:normalViewPr>
  <p:slideViewPr>
    <p:cSldViewPr snapToGrid="0" snapToObjects="1">
      <p:cViewPr varScale="1">
        <p:scale>
          <a:sx n="148" d="100"/>
          <a:sy n="148" d="100"/>
        </p:scale>
        <p:origin x="192" y="2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7A3D8-2D94-A544-A355-CC9F366A0E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494B146-3017-4F4F-819B-E8BF429D09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E92DF-2F0D-1A47-A203-C2B1BD24DA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fld id="{D021BB6E-7C2F-A24E-AE57-E33F5B784508}" type="datetimeFigureOut">
              <a:rPr lang="en-US" smtClean="0"/>
              <a:pPr/>
              <a:t>8/6/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042033-56E3-B748-B5F0-78524ABE83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3E9430-F478-A544-9CF8-9E3A2B3EB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fld id="{6007BB0C-BC8F-4444-BD95-1D4A537908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5988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A3107-77BA-024F-A1A3-D7E264B5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EE83A2-1A0B-D241-A3C2-A9BBB38975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CB5198-B011-D148-8627-D1FCB33DD5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6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1FE808-A410-0143-BFAD-108FC65487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440E86-D6BE-3749-879C-739CEE242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35183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2066391-93CF-CC43-A8DA-C3C4810275E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3EA627B-5F7E-7A4B-9572-B83C829CAF5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7DE748-B0C9-5446-8FFD-F4795C1CCC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6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E6D3A7-18A4-6E46-A0FC-9800A72E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1A68C9-1813-4440-BFBC-285113753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7260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AED62-7A87-B440-982A-98617CC8BE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643303-B5F9-3B48-B47A-C5021ED843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04549B-7006-5C46-8616-2277AC890B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6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4AFBBF-57F0-CE43-AAE2-E24C58174E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CF8636-C58D-104C-9288-6513DD05A5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75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631310-AD66-514C-9BED-D9EC27EA10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0D1546-91EE-2147-962A-4DC29C0FB8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D8EB03-EEB5-A249-8E47-49157603F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6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8759B4-F9FD-BA4D-A543-7AE8BD98D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B83761-95DA-1342-A11E-DAEFB1D14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999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53685A-FC9D-FC4A-85EE-E9AF3DCFD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7326F7-9CBC-F346-BD31-8A1705D0A8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E8CD36-1632-F144-9AB5-A799D2D581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4763FC-428D-D545-8D2C-268EC3F7A3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6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1B47B9-1EC7-3549-92F9-BC785C1CDB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AC6734-09F6-8842-933E-736867286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5293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DD471A-A4D1-A141-B999-EF91D1DAE6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90879E-6B9E-3141-A2D9-5117406B6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CD6D79-2216-BA4A-A14B-08C6F48512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05202A-86C3-CC4A-97BA-32E16E7E56B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1FBE14-F9B8-044C-AE80-DC5B6207AEB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BDD574F-DABD-BC4B-8247-9FE709BD8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6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F7E464C-74E6-884F-AA6C-B16D3D869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06560C0-F31E-F241-9D30-7BE2137E6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1133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B8F641-25B8-6F4A-9073-AB7E8A7377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FAFC23-0CBD-E546-AEBE-0D91983186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6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D4C9ED-C09F-9543-A755-B6BEE01172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55595D-11E3-C347-90B8-982D7AB101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7201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3D8023-1A2E-5C42-83FA-09033E4EC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6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42C408-DE2A-D842-B6F5-199B0F82EC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8D26F5-6352-8A47-826F-9CD6AB128C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8578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C09F65-5CB4-A24B-AC45-230A1B2195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90680C-1C6A-5447-897F-A6486B276D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C7B8A-1190-2840-82BA-D55097E64B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5DB941-2F04-E14E-B21A-07FFEB30F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6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3083EB-83CE-FF46-8E2F-2C749420C2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16D788-92D0-B04B-B33D-EE680C075D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3768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3386FF-A464-0640-A21C-F00CDA753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0C47F7-5489-824E-B160-9335E21320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F5A330-0838-5244-A8B4-5AE8E8CE67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394FC57-CC7C-784A-A394-FE945AC7F5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8/6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2D0785-69DC-EF46-8279-05CFEC2B21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4BE865-BD97-4549-B9E8-7C9E6B5837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5100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832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47D0E0C-79D7-7A4D-9254-93B7F6CC2E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751238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4897133-0CA0-1A4C-AEDB-D7CCDBF33ED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GB" sz="3200" b="1" i="0" u="none" cap="none" baseline="0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402A80-A8EC-8F41-A5C1-E7C34B8409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3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F99871-777B-5F4E-8B46-156F4F18B9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25333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9ABD45-3FBE-134F-A964-EE2174AA5C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21BB6E-7C2F-A24E-AE57-E33F5B784508}" type="datetimeFigureOut">
              <a:rPr lang="en-US" smtClean="0"/>
              <a:t>8/6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DDD441-1DF2-BA45-A64A-64CF08E6C0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DB60CD-F773-8947-8FFD-000ED14E99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079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rgbClr val="33F594"/>
          </a:solidFill>
          <a:latin typeface="Avenir Heavy" panose="02000503020000020003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tiff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0D16BF1-F0BE-4A4C-ADD8-47970D45EF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0769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2">
            <a:extLst>
              <a:ext uri="{FF2B5EF4-FFF2-40B4-BE49-F238E27FC236}">
                <a16:creationId xmlns:a16="http://schemas.microsoft.com/office/drawing/2014/main" id="{21099B39-20E8-0549-93B9-48A8A330B190}"/>
              </a:ext>
            </a:extLst>
          </p:cNvPr>
          <p:cNvSpPr txBox="1">
            <a:spLocks/>
          </p:cNvSpPr>
          <p:nvPr/>
        </p:nvSpPr>
        <p:spPr>
          <a:xfrm>
            <a:off x="630000" y="3923047"/>
            <a:ext cx="10933350" cy="1100898"/>
          </a:xfrm>
          <a:prstGeom prst="rect">
            <a:avLst/>
          </a:prstGeom>
        </p:spPr>
        <p:txBody>
          <a:bodyPr lIns="0" tIns="0" rIns="0" bIns="91440" anchor="t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cs typeface="Futura Medium" panose="020B0602020204020303" pitchFamily="34" charset="-79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7200" dirty="0">
                <a:solidFill>
                  <a:schemeClr val="bg1"/>
                </a:solidFill>
                <a:latin typeface="Avenir Black" panose="02000503020000020003" pitchFamily="2" charset="0"/>
              </a:rPr>
              <a:t>Na</a:t>
            </a:r>
            <a:r>
              <a:rPr lang="en-US" sz="7200" dirty="0">
                <a:solidFill>
                  <a:srgbClr val="33F594"/>
                </a:solidFill>
                <a:latin typeface="Avenir Black" panose="02000503020000020003" pitchFamily="2" charset="0"/>
              </a:rPr>
              <a:t>ï</a:t>
            </a:r>
            <a:r>
              <a:rPr lang="en-US" sz="7200" dirty="0">
                <a:solidFill>
                  <a:schemeClr val="bg1"/>
                </a:solidFill>
                <a:latin typeface="Avenir Black" panose="02000503020000020003" pitchFamily="2" charset="0"/>
              </a:rPr>
              <a:t>ve Bayesians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3B9A2CCD-0F80-7642-AFC9-E751C3C52A89}"/>
              </a:ext>
            </a:extLst>
          </p:cNvPr>
          <p:cNvSpPr txBox="1">
            <a:spLocks/>
          </p:cNvSpPr>
          <p:nvPr/>
        </p:nvSpPr>
        <p:spPr>
          <a:xfrm>
            <a:off x="630000" y="5152758"/>
            <a:ext cx="10933350" cy="1100898"/>
          </a:xfrm>
          <a:prstGeom prst="rect">
            <a:avLst/>
          </a:prstGeom>
        </p:spPr>
        <p:txBody>
          <a:bodyPr lIns="0" tIns="0" rIns="0" bIns="91440" anchor="t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cs typeface="Futura Medium" panose="020B0602020204020303" pitchFamily="34" charset="-79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b="0" dirty="0">
                <a:solidFill>
                  <a:schemeClr val="bg1"/>
                </a:solidFill>
                <a:latin typeface="Avenir Book" panose="02000503020000020003" pitchFamily="2" charset="0"/>
              </a:rPr>
              <a:t>Bayesian Methods for Hackers Chapter 2</a:t>
            </a:r>
          </a:p>
          <a:p>
            <a:endParaRPr lang="en-US" b="0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r>
              <a:rPr lang="en-US" b="0" dirty="0">
                <a:solidFill>
                  <a:schemeClr val="bg1"/>
                </a:solidFill>
                <a:latin typeface="Avenir Book" panose="02000503020000020003" pitchFamily="2" charset="0"/>
              </a:rPr>
              <a:t>6</a:t>
            </a:r>
            <a:r>
              <a:rPr lang="en-US" b="0" baseline="30000" dirty="0">
                <a:solidFill>
                  <a:schemeClr val="bg1"/>
                </a:solidFill>
                <a:latin typeface="Avenir Book" panose="02000503020000020003" pitchFamily="2" charset="0"/>
              </a:rPr>
              <a:t>th</a:t>
            </a:r>
            <a:r>
              <a:rPr lang="en-US" b="0" dirty="0">
                <a:solidFill>
                  <a:schemeClr val="bg1"/>
                </a:solidFill>
                <a:latin typeface="Avenir Book" panose="02000503020000020003" pitchFamily="2" charset="0"/>
              </a:rPr>
              <a:t> Aug 2020</a:t>
            </a:r>
          </a:p>
        </p:txBody>
      </p:sp>
    </p:spTree>
    <p:extLst>
      <p:ext uri="{BB962C8B-B14F-4D97-AF65-F5344CB8AC3E}">
        <p14:creationId xmlns:p14="http://schemas.microsoft.com/office/powerpoint/2010/main" val="34975110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9AAA1D2-66A5-1D45-8639-7508A557AA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06422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F63ED62-E69C-5D45-9248-EE1815314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Black" panose="02000503020000020003" pitchFamily="2" charset="0"/>
              </a:rPr>
              <a:t>Goal</a:t>
            </a:r>
            <a:endParaRPr lang="en-US" dirty="0"/>
          </a:p>
        </p:txBody>
      </p:sp>
      <p:sp>
        <p:nvSpPr>
          <p:cNvPr id="5" name="ee4pHeader2">
            <a:extLst>
              <a:ext uri="{FF2B5EF4-FFF2-40B4-BE49-F238E27FC236}">
                <a16:creationId xmlns:a16="http://schemas.microsoft.com/office/drawing/2014/main" id="{61CB3CFB-D0CC-F241-99AF-A01965E78576}"/>
              </a:ext>
            </a:extLst>
          </p:cNvPr>
          <p:cNvSpPr txBox="1"/>
          <p:nvPr/>
        </p:nvSpPr>
        <p:spPr>
          <a:xfrm>
            <a:off x="1124607" y="1723697"/>
            <a:ext cx="9059917" cy="3258206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5400" b="1" dirty="0">
                <a:solidFill>
                  <a:schemeClr val="bg1"/>
                </a:solidFill>
                <a:latin typeface="Avenir Book" panose="02000503020000020003" pitchFamily="2" charset="0"/>
              </a:rPr>
              <a:t>Developing the Bayesian muscle to solve a wide range of problems</a:t>
            </a:r>
          </a:p>
        </p:txBody>
      </p:sp>
    </p:spTree>
    <p:extLst>
      <p:ext uri="{BB962C8B-B14F-4D97-AF65-F5344CB8AC3E}">
        <p14:creationId xmlns:p14="http://schemas.microsoft.com/office/powerpoint/2010/main" val="6490346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AE99FC0-AB4F-B44F-A9F1-A43C965FE5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5222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2">
            <a:extLst>
              <a:ext uri="{FF2B5EF4-FFF2-40B4-BE49-F238E27FC236}">
                <a16:creationId xmlns:a16="http://schemas.microsoft.com/office/drawing/2014/main" id="{6D5787B0-7933-3742-A916-41151C21E50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 tIns="0" rIns="0" bIns="91440" anchor="t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cs typeface="Futura Medium" panose="020B0602020204020303" pitchFamily="34" charset="-79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3400" dirty="0">
                <a:solidFill>
                  <a:srgbClr val="33F594"/>
                </a:solidFill>
                <a:latin typeface="Avenir Black" panose="02000503020000020003" pitchFamily="2" charset="0"/>
              </a:rPr>
              <a:t>Naïve Bayesian Philosophy </a:t>
            </a:r>
          </a:p>
        </p:txBody>
      </p:sp>
      <p:sp>
        <p:nvSpPr>
          <p:cNvPr id="6" name="ee4pContent2">
            <a:extLst>
              <a:ext uri="{FF2B5EF4-FFF2-40B4-BE49-F238E27FC236}">
                <a16:creationId xmlns:a16="http://schemas.microsoft.com/office/drawing/2014/main" id="{61CA0069-0C95-BD4F-A407-4DCD82CB4F9B}"/>
              </a:ext>
            </a:extLst>
          </p:cNvPr>
          <p:cNvSpPr txBox="1"/>
          <p:nvPr/>
        </p:nvSpPr>
        <p:spPr>
          <a:xfrm>
            <a:off x="4230932" y="2955600"/>
            <a:ext cx="3321459" cy="291240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Avenir Book" panose="02000503020000020003" pitchFamily="2" charset="0"/>
              </a:rPr>
              <a:t>Starting from Simple Probabilistic modelling</a:t>
            </a:r>
          </a:p>
          <a:p>
            <a:pPr>
              <a:buNone/>
            </a:pPr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pPr>
              <a:buNone/>
            </a:pPr>
            <a:r>
              <a:rPr lang="en-US" dirty="0">
                <a:solidFill>
                  <a:schemeClr val="bg1"/>
                </a:solidFill>
                <a:latin typeface="Avenir Book" panose="02000503020000020003" pitchFamily="2" charset="0"/>
              </a:rPr>
              <a:t>Adapting it in a a Bayesian setting</a:t>
            </a:r>
          </a:p>
          <a:p>
            <a:pPr>
              <a:buNone/>
            </a:pPr>
            <a:r>
              <a:rPr lang="en-US" dirty="0">
                <a:solidFill>
                  <a:schemeClr val="bg1"/>
                </a:solidFill>
                <a:latin typeface="Avenir Book" panose="02000503020000020003" pitchFamily="2" charset="0"/>
              </a:rPr>
              <a:t>And moving towards ML models </a:t>
            </a:r>
          </a:p>
          <a:p>
            <a:pPr>
              <a:buNone/>
            </a:pPr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pPr>
              <a:buNone/>
            </a:pPr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</p:txBody>
      </p:sp>
      <p:sp>
        <p:nvSpPr>
          <p:cNvPr id="7" name="ee4pHeader1">
            <a:extLst>
              <a:ext uri="{FF2B5EF4-FFF2-40B4-BE49-F238E27FC236}">
                <a16:creationId xmlns:a16="http://schemas.microsoft.com/office/drawing/2014/main" id="{83BC5F87-448F-9949-8A51-9B316FE6B5F2}"/>
              </a:ext>
            </a:extLst>
          </p:cNvPr>
          <p:cNvSpPr txBox="1"/>
          <p:nvPr/>
        </p:nvSpPr>
        <p:spPr>
          <a:xfrm>
            <a:off x="628199" y="2077200"/>
            <a:ext cx="3321459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b="1" dirty="0">
                <a:solidFill>
                  <a:srgbClr val="33F594"/>
                </a:solidFill>
                <a:latin typeface="Avenir Book" panose="02000503020000020003" pitchFamily="2" charset="0"/>
              </a:rPr>
              <a:t>Intuitive (Visual) Understanding of the Bayesian Reasoning</a:t>
            </a:r>
          </a:p>
        </p:txBody>
      </p:sp>
      <p:sp>
        <p:nvSpPr>
          <p:cNvPr id="8" name="ee4pHeader2">
            <a:extLst>
              <a:ext uri="{FF2B5EF4-FFF2-40B4-BE49-F238E27FC236}">
                <a16:creationId xmlns:a16="http://schemas.microsoft.com/office/drawing/2014/main" id="{35761BA6-0584-4D45-80BF-297D973BE297}"/>
              </a:ext>
            </a:extLst>
          </p:cNvPr>
          <p:cNvSpPr txBox="1"/>
          <p:nvPr/>
        </p:nvSpPr>
        <p:spPr>
          <a:xfrm>
            <a:off x="4230932" y="2077200"/>
            <a:ext cx="3321459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b="1" dirty="0">
                <a:solidFill>
                  <a:srgbClr val="33F594"/>
                </a:solidFill>
                <a:latin typeface="Avenir Book" panose="02000503020000020003" pitchFamily="2" charset="0"/>
              </a:rPr>
              <a:t>Ability to model real world problems in a Bayesian Setting</a:t>
            </a:r>
          </a:p>
        </p:txBody>
      </p:sp>
      <p:sp>
        <p:nvSpPr>
          <p:cNvPr id="9" name="ee4pHeader3">
            <a:extLst>
              <a:ext uri="{FF2B5EF4-FFF2-40B4-BE49-F238E27FC236}">
                <a16:creationId xmlns:a16="http://schemas.microsoft.com/office/drawing/2014/main" id="{BA2449B1-2D3E-084E-A5F8-54B0F2B8DA70}"/>
              </a:ext>
            </a:extLst>
          </p:cNvPr>
          <p:cNvSpPr txBox="1"/>
          <p:nvPr/>
        </p:nvSpPr>
        <p:spPr>
          <a:xfrm>
            <a:off x="7956141" y="2077200"/>
            <a:ext cx="3321459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b="1" dirty="0">
                <a:solidFill>
                  <a:srgbClr val="33F594"/>
                </a:solidFill>
                <a:latin typeface="Avenir Book" panose="02000503020000020003" pitchFamily="2" charset="0"/>
              </a:rPr>
              <a:t>Fluency in the Calculus of Bayesian Stats &amp; ML model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33CB0E5-13AB-6244-8BF8-EC49A4B52283}"/>
              </a:ext>
            </a:extLst>
          </p:cNvPr>
          <p:cNvPicPr>
            <a:picLocks noChangeAspect="1"/>
          </p:cNvPicPr>
          <p:nvPr/>
        </p:nvPicPr>
        <p:blipFill>
          <a:blip r:embed="rId6">
            <a:biLevel thresh="25000"/>
          </a:blip>
          <a:stretch>
            <a:fillRect/>
          </a:stretch>
        </p:blipFill>
        <p:spPr>
          <a:xfrm>
            <a:off x="4843943" y="5367825"/>
            <a:ext cx="1735444" cy="61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5695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FB6DD9A-0A03-9B4B-A052-D2636965D9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703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5EAEBD4-DE1C-F74A-8C68-7B3927F5EC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578AF7-15FF-584A-A09F-22B90939D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n Probabilistic Programm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146B00-0195-9044-B7C9-8EA49A8FA2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i="1" dirty="0"/>
              <a:t>Probabilistic programming will </a:t>
            </a:r>
            <a:r>
              <a:rPr lang="en-GB" i="1" dirty="0">
                <a:solidFill>
                  <a:srgbClr val="33F594"/>
                </a:solidFill>
              </a:rPr>
              <a:t>unlock</a:t>
            </a:r>
            <a:r>
              <a:rPr lang="en-GB" i="1" dirty="0"/>
              <a:t> </a:t>
            </a:r>
            <a:r>
              <a:rPr lang="en-GB" i="1" dirty="0">
                <a:solidFill>
                  <a:srgbClr val="33F594"/>
                </a:solidFill>
              </a:rPr>
              <a:t>narrative explanations</a:t>
            </a:r>
            <a:r>
              <a:rPr lang="en-GB" i="1" dirty="0"/>
              <a:t> of data, one of the holy grails of business analytics and the unsung hero of scientific persuasion. </a:t>
            </a:r>
          </a:p>
          <a:p>
            <a:pPr marL="0" indent="0">
              <a:buNone/>
            </a:pPr>
            <a:r>
              <a:rPr lang="en-GB" i="1" dirty="0"/>
              <a:t>People think in terms of stories - thus the unreasonable power of the anecdote to drive decision-making, well-founded or not. But existing analytics largely fails to provide this kind of story; instead, numbers seemingly appear out of thin air, with little of the causal context that humans prefer when weighing their option</a:t>
            </a:r>
            <a:endParaRPr lang="en-US" i="1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4FD1E74-0758-A94C-9C3A-830BA58D6EDA}"/>
              </a:ext>
            </a:extLst>
          </p:cNvPr>
          <p:cNvSpPr/>
          <p:nvPr/>
        </p:nvSpPr>
        <p:spPr>
          <a:xfrm>
            <a:off x="838200" y="6292819"/>
            <a:ext cx="1022405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Avenir Book" panose="02000503020000020003" pitchFamily="2" charset="0"/>
              </a:rPr>
              <a:t>Source: Cronin, Beau. "Why Probabilistic Programming Matters." 24 Mar 2013. Google, Online Posting to Google . Web. 24 Mar. 2013. https://</a:t>
            </a:r>
            <a:r>
              <a:rPr lang="en-US" sz="1000" dirty="0" err="1">
                <a:solidFill>
                  <a:schemeClr val="bg1"/>
                </a:solidFill>
                <a:latin typeface="Avenir Book" panose="02000503020000020003" pitchFamily="2" charset="0"/>
              </a:rPr>
              <a:t>plus.google.com</a:t>
            </a:r>
            <a:r>
              <a:rPr lang="en-US" sz="1000" dirty="0">
                <a:solidFill>
                  <a:schemeClr val="bg1"/>
                </a:solidFill>
                <a:latin typeface="Avenir Book" panose="02000503020000020003" pitchFamily="2" charset="0"/>
              </a:rPr>
              <a:t>/u/0/107971134877020469960/posts/KpeRdJKR6Z1</a:t>
            </a:r>
          </a:p>
        </p:txBody>
      </p:sp>
    </p:spTree>
    <p:extLst>
      <p:ext uri="{BB962C8B-B14F-4D97-AF65-F5344CB8AC3E}">
        <p14:creationId xmlns:p14="http://schemas.microsoft.com/office/powerpoint/2010/main" val="29716812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0551BAA-CA33-204B-902E-EEAE3F1A7C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75681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E8F3234-0834-9349-A3A1-196B426F16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653FB1-DCCC-7441-809F-2C6EAFBA6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pter 2: Intro to PyMC3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8768B9-D095-034E-B2CC-8A9559DFDC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/>
              <a:t>Defining model in a context 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Stochastic vs Deterministic Variable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Accessing PyMC3 Variables outside of the context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Including Observations – </a:t>
            </a:r>
            <a:r>
              <a:rPr lang="en-US" dirty="0">
                <a:solidFill>
                  <a:srgbClr val="33F594"/>
                </a:solidFill>
              </a:rPr>
              <a:t>For Inference!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Preview: Nested functions of variables (e.g. Logistic Regression)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Examples </a:t>
            </a:r>
          </a:p>
          <a:p>
            <a:pPr lvl="1"/>
            <a:r>
              <a:rPr lang="en-US" dirty="0"/>
              <a:t>Bayesian  A/B Testing (Basic Stochastic + Deterministic Variables)</a:t>
            </a:r>
          </a:p>
          <a:p>
            <a:pPr lvl="1"/>
            <a:r>
              <a:rPr lang="en-US" dirty="0"/>
              <a:t>Challenger Space Shuttle Defect (Nested functions of variables )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0573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  <p:tag name="THINKCELLPRESENTATIONDONOTDELETE" val="&lt;?xml version=&quot;1.0&quot; encoding=&quot;UTF-16&quot; standalone=&quot;yes&quot;?&gt;&lt;root reqver=&quot;27037&quot;&gt;&lt;version val=&quot;3046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4.68559000000000036579E+00&quot;&gt;&lt;m_msothmcolidx val=&quot;0&quot;/&gt;&lt;m_rgb r=&quot;33&quot; g=&quot;F5&quot; b=&quot;74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AXsyp_2O1Hox6uwJNt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zic8VGQGvxd0EfFm6m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twe1nj7_cOEQjLjFGI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1</TotalTime>
  <Words>267</Words>
  <Application>Microsoft Macintosh PowerPoint</Application>
  <PresentationFormat>Widescreen</PresentationFormat>
  <Paragraphs>28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Avenir Black</vt:lpstr>
      <vt:lpstr>Avenir Book</vt:lpstr>
      <vt:lpstr>Avenir Heavy</vt:lpstr>
      <vt:lpstr>Calibri</vt:lpstr>
      <vt:lpstr>Trebuchet MS</vt:lpstr>
      <vt:lpstr>Office Theme</vt:lpstr>
      <vt:lpstr>think-cell Slide</vt:lpstr>
      <vt:lpstr>PowerPoint Presentation</vt:lpstr>
      <vt:lpstr>Goal</vt:lpstr>
      <vt:lpstr>Naïve Bayesian Philosophy </vt:lpstr>
      <vt:lpstr>On Probabilistic Programming</vt:lpstr>
      <vt:lpstr>Chapter 2: Intro to PyMC3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nna, Sithan</dc:creator>
  <cp:lastModifiedBy>Kanna, Sithan</cp:lastModifiedBy>
  <cp:revision>33</cp:revision>
  <dcterms:created xsi:type="dcterms:W3CDTF">2020-07-24T11:02:11Z</dcterms:created>
  <dcterms:modified xsi:type="dcterms:W3CDTF">2020-08-06T13:56:59Z</dcterms:modified>
</cp:coreProperties>
</file>